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2"/>
  </p:notesMasterIdLst>
  <p:handoutMasterIdLst>
    <p:handoutMasterId r:id="rId23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338" r:id="rId13"/>
    <p:sldId id="286" r:id="rId14"/>
    <p:sldId id="299" r:id="rId15"/>
    <p:sldId id="337" r:id="rId16"/>
    <p:sldId id="318" r:id="rId17"/>
    <p:sldId id="317" r:id="rId18"/>
    <p:sldId id="292" r:id="rId19"/>
    <p:sldId id="284" r:id="rId20"/>
    <p:sldId id="334" r:id="rId21"/>
  </p:sldIdLst>
  <p:sldSz cx="9144000" cy="6858000" type="screen4x3"/>
  <p:notesSz cx="7099300" cy="10234613"/>
  <p:custDataLst>
    <p:tags r:id="rId2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 varScale="1">
        <p:scale>
          <a:sx n="75" d="100"/>
          <a:sy n="75" d="100"/>
        </p:scale>
        <p:origin x="-1038" y="-84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21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b="1" dirty="0" smtClean="0"/>
            <a:t>Introduction</a:t>
          </a:r>
          <a:endParaRPr lang="de-DE" sz="2000" b="1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b="1" dirty="0" smtClean="0"/>
            <a:t>DevOps goals</a:t>
          </a:r>
          <a:endParaRPr lang="de-DE" b="1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b="1" dirty="0" smtClean="0"/>
            <a:t>OpenStack</a:t>
          </a:r>
          <a:endParaRPr lang="de-DE" sz="2000" b="1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b="1" dirty="0" smtClean="0"/>
            <a:t>Features</a:t>
          </a:r>
          <a:endParaRPr lang="de-DE" b="1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b="1" dirty="0" smtClean="0"/>
            <a:t>Software Overview</a:t>
          </a:r>
          <a:endParaRPr lang="de-DE" b="1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1800" b="1" dirty="0" smtClean="0"/>
            <a:t>TelekomCLOUD</a:t>
          </a:r>
          <a:endParaRPr lang="de-DE" sz="1800" b="1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b="1" dirty="0" smtClean="0"/>
            <a:t>Deployment</a:t>
          </a:r>
          <a:endParaRPr lang="de-DE" b="1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b="1" dirty="0" smtClean="0"/>
            <a:t>Command lines</a:t>
          </a:r>
          <a:endParaRPr lang="de-DE" b="1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b="1" dirty="0" smtClean="0"/>
            <a:t>Key Terms</a:t>
          </a:r>
          <a:endParaRPr lang="de-DE" b="1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3C5F02E-0FFE-4179-89A2-8C4A6E869616}" type="presOf" srcId="{B5D6904C-D49C-441C-8EF3-B2C5CA8CA324}" destId="{E11601EB-F660-440A-AEEA-AF4CFEF139C5}" srcOrd="0" destOrd="0" presId="urn:microsoft.com/office/officeart/2005/8/layout/vList5"/>
    <dgm:cxn modelId="{7D765690-33B0-483E-8A58-F8953F8B07B5}" type="presOf" srcId="{6FA0FFD3-1DA2-47F5-835E-CFE50E6B57E2}" destId="{EE9E695F-4BC6-419D-BDAC-FC9F0A0DDD23}" srcOrd="0" destOrd="1" presId="urn:microsoft.com/office/officeart/2005/8/layout/vList5"/>
    <dgm:cxn modelId="{D6968841-8266-48B5-B15D-CEA13BBEF748}" type="presOf" srcId="{1968B98D-1F79-48F4-843D-EEAAFBF24535}" destId="{7C17F7B8-EB0F-4438-9B5F-C6AF959C98AD}" srcOrd="0" destOrd="0" presId="urn:microsoft.com/office/officeart/2005/8/layout/vList5"/>
    <dgm:cxn modelId="{7086C475-44F8-42FF-9919-673CBD4406A1}" type="presOf" srcId="{CCCC570F-1257-4D0E-BD30-D1B6C5A96D1D}" destId="{EE9E695F-4BC6-419D-BDAC-FC9F0A0DDD23}" srcOrd="0" destOrd="3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3E3BCDAE-F0B2-49F6-8DF3-5882DC059F29}" type="presOf" srcId="{251B9E23-E011-4DBF-9C2F-F9F43DF4CF28}" destId="{A257B72E-F754-444C-B866-6FAF8336919B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4226A9C4-DC50-48B9-81B0-221BBB72A590}" type="presOf" srcId="{CE350EE0-9270-41A4-90E7-2809F2C20CAE}" destId="{6F9362EE-2ECA-4FA3-A6AD-C9543318F45F}" srcOrd="0" destOrd="0" presId="urn:microsoft.com/office/officeart/2005/8/layout/vList5"/>
    <dgm:cxn modelId="{F1E8C872-87AE-45F4-92E5-7EA96CF5E180}" type="presOf" srcId="{E4F4CE58-4869-4FF9-AE3C-64C2A7BAC8A2}" destId="{EE9E695F-4BC6-419D-BDAC-FC9F0A0DDD23}" srcOrd="0" destOrd="2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4BB66F5F-0C57-4880-A7BD-20EF7EFF60E2}" type="presOf" srcId="{07D05C88-76D6-4FF8-9D06-E0F6DFE64715}" destId="{448F2A67-E6E2-41D3-BBA0-9D50EB592CFC}" srcOrd="0" destOrd="0" presId="urn:microsoft.com/office/officeart/2005/8/layout/vList5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EF1E699-BD14-44CC-8D64-F141258444DC}" type="presOf" srcId="{C88559B0-CAB1-44BF-93B1-238B1F158C50}" destId="{A2A62A9B-AB8B-4EC7-AEB2-270716C007B5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3CF57D3C-999C-4A77-AB8B-4391CBDF5AFD}" type="presOf" srcId="{6FDCFBA1-1455-4DA5-9D03-16B9B16DB190}" destId="{EE9E695F-4BC6-419D-BDAC-FC9F0A0DDD23}" srcOrd="0" destOrd="0" presId="urn:microsoft.com/office/officeart/2005/8/layout/vList5"/>
    <dgm:cxn modelId="{FA3B8B55-23A8-47BC-959E-DF3C5E83822E}" type="presParOf" srcId="{A2A62A9B-AB8B-4EC7-AEB2-270716C007B5}" destId="{4485F3D3-D9BB-4157-8EAD-C1CB6247D9CA}" srcOrd="0" destOrd="0" presId="urn:microsoft.com/office/officeart/2005/8/layout/vList5"/>
    <dgm:cxn modelId="{4F7EE329-52C2-43D0-BC64-6BB40DFF9CFC}" type="presParOf" srcId="{4485F3D3-D9BB-4157-8EAD-C1CB6247D9CA}" destId="{E11601EB-F660-440A-AEEA-AF4CFEF139C5}" srcOrd="0" destOrd="0" presId="urn:microsoft.com/office/officeart/2005/8/layout/vList5"/>
    <dgm:cxn modelId="{87D619BD-D8DB-4880-A13B-0B9806ADFF00}" type="presParOf" srcId="{4485F3D3-D9BB-4157-8EAD-C1CB6247D9CA}" destId="{448F2A67-E6E2-41D3-BBA0-9D50EB592CFC}" srcOrd="1" destOrd="0" presId="urn:microsoft.com/office/officeart/2005/8/layout/vList5"/>
    <dgm:cxn modelId="{8C3B200C-4048-41D4-AF3E-5D9A4815550C}" type="presParOf" srcId="{A2A62A9B-AB8B-4EC7-AEB2-270716C007B5}" destId="{EED2FB6E-51C3-4C14-BE07-2781C781930D}" srcOrd="1" destOrd="0" presId="urn:microsoft.com/office/officeart/2005/8/layout/vList5"/>
    <dgm:cxn modelId="{D8AFAA4D-06EF-4E42-AD30-80FCB665D349}" type="presParOf" srcId="{A2A62A9B-AB8B-4EC7-AEB2-270716C007B5}" destId="{FDF9A460-C2CA-48E3-B8E3-121E0CBE6AB7}" srcOrd="2" destOrd="0" presId="urn:microsoft.com/office/officeart/2005/8/layout/vList5"/>
    <dgm:cxn modelId="{D50BC907-F240-4A74-865F-7CAE001B2C66}" type="presParOf" srcId="{FDF9A460-C2CA-48E3-B8E3-121E0CBE6AB7}" destId="{A257B72E-F754-444C-B866-6FAF8336919B}" srcOrd="0" destOrd="0" presId="urn:microsoft.com/office/officeart/2005/8/layout/vList5"/>
    <dgm:cxn modelId="{7D9E6458-0F8A-4C4E-AA02-D99164BFBCC5}" type="presParOf" srcId="{FDF9A460-C2CA-48E3-B8E3-121E0CBE6AB7}" destId="{EE9E695F-4BC6-419D-BDAC-FC9F0A0DDD23}" srcOrd="1" destOrd="0" presId="urn:microsoft.com/office/officeart/2005/8/layout/vList5"/>
    <dgm:cxn modelId="{1EBBE7E7-3BBA-461A-A0AB-B326441351B1}" type="presParOf" srcId="{A2A62A9B-AB8B-4EC7-AEB2-270716C007B5}" destId="{D1583CDC-85FB-42A5-931D-3068F2C4E237}" srcOrd="3" destOrd="0" presId="urn:microsoft.com/office/officeart/2005/8/layout/vList5"/>
    <dgm:cxn modelId="{896DDAD7-94E4-4E9E-B3EB-F84B37A783F5}" type="presParOf" srcId="{A2A62A9B-AB8B-4EC7-AEB2-270716C007B5}" destId="{87BEDE4D-9619-45FE-8D45-761BA3D28F9C}" srcOrd="4" destOrd="0" presId="urn:microsoft.com/office/officeart/2005/8/layout/vList5"/>
    <dgm:cxn modelId="{2FC52EA1-D143-4709-903D-E0348330890B}" type="presParOf" srcId="{87BEDE4D-9619-45FE-8D45-761BA3D28F9C}" destId="{6F9362EE-2ECA-4FA3-A6AD-C9543318F45F}" srcOrd="0" destOrd="0" presId="urn:microsoft.com/office/officeart/2005/8/layout/vList5"/>
    <dgm:cxn modelId="{92ACBFE8-E52C-4926-97D8-A43D0A13A586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56E657-BC37-4428-A3F9-BF51E061C235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3F31FB36-EA94-49E9-97A2-F46D23AC15E4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7887E6D2-B359-478A-B606-D84C92F697B4}" type="presOf" srcId="{F351D095-D2C1-4F62-A18D-EFB4BA6E2AA9}" destId="{6BF66C9A-92D4-481D-A538-FD1A4E3DC0D5}" srcOrd="0" destOrd="0" presId="urn:microsoft.com/office/officeart/2005/8/layout/chevron1"/>
    <dgm:cxn modelId="{CFC29FA5-3E94-48CC-B517-F68C9557EA51}" type="presOf" srcId="{9C869D94-BD20-4CF6-9CAA-58E706B950F6}" destId="{0AECE453-CE2A-473C-BD27-70D00DA5B95C}" srcOrd="0" destOrd="0" presId="urn:microsoft.com/office/officeart/2005/8/layout/chevron1"/>
    <dgm:cxn modelId="{4F52A4E0-DFC0-478C-A8AD-9EC1FEFE1544}" type="presOf" srcId="{EB61DA86-9B86-4759-822E-DA32F7AA073E}" destId="{135DB1F4-89C2-4733-9521-42FD5CECF10C}" srcOrd="0" destOrd="0" presId="urn:microsoft.com/office/officeart/2005/8/layout/chevron1"/>
    <dgm:cxn modelId="{1ECDC5D7-2D93-4E81-8B9A-D2D166AD2C47}" type="presParOf" srcId="{0AECE453-CE2A-473C-BD27-70D00DA5B95C}" destId="{135DB1F4-89C2-4733-9521-42FD5CECF10C}" srcOrd="0" destOrd="0" presId="urn:microsoft.com/office/officeart/2005/8/layout/chevron1"/>
    <dgm:cxn modelId="{67BF29C0-24F1-4C5A-AABB-019A41D61B68}" type="presParOf" srcId="{0AECE453-CE2A-473C-BD27-70D00DA5B95C}" destId="{E1C76734-9ABE-473C-AD4C-C4BF49F91E97}" srcOrd="1" destOrd="0" presId="urn:microsoft.com/office/officeart/2005/8/layout/chevron1"/>
    <dgm:cxn modelId="{CB9ED4FA-3E63-4ABD-938B-294CEA1E2606}" type="presParOf" srcId="{0AECE453-CE2A-473C-BD27-70D00DA5B95C}" destId="{6BF66C9A-92D4-481D-A538-FD1A4E3DC0D5}" srcOrd="2" destOrd="0" presId="urn:microsoft.com/office/officeart/2005/8/layout/chevron1"/>
    <dgm:cxn modelId="{5EF6A266-D6FD-4960-B7C6-56856E2EF467}" type="presParOf" srcId="{0AECE453-CE2A-473C-BD27-70D00DA5B95C}" destId="{691CB221-7DD5-49BE-AC21-301798066F30}" srcOrd="3" destOrd="0" presId="urn:microsoft.com/office/officeart/2005/8/layout/chevron1"/>
    <dgm:cxn modelId="{23773DE9-FAE8-4603-A3EF-51139732DA0A}" type="presParOf" srcId="{0AECE453-CE2A-473C-BD27-70D00DA5B95C}" destId="{6B5B1B16-1D46-4D7F-892D-7D67FB436452}" srcOrd="4" destOrd="0" presId="urn:microsoft.com/office/officeart/2005/8/layout/chevron1"/>
    <dgm:cxn modelId="{0938D7DC-EDEA-42B4-804D-E75945016D34}" type="presParOf" srcId="{0AECE453-CE2A-473C-BD27-70D00DA5B95C}" destId="{E20E6850-4B52-4A6E-A4B6-B5AE207EA15E}" srcOrd="5" destOrd="0" presId="urn:microsoft.com/office/officeart/2005/8/layout/chevron1"/>
    <dgm:cxn modelId="{58F0D7E3-B351-410B-93B8-59227FC993E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14DD6980-A11A-4B1B-87B0-232D39AC3EC3}" type="presOf" srcId="{C954CEC6-D6DD-4AD5-B1BE-F4C362F708A5}" destId="{0A240859-8B98-4BE6-95B6-2FD30530FEE4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E4C5562-E6F0-4149-9A39-ADC145A00945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9B652614-5C13-483C-A2FE-4BC663583C00}" type="presOf" srcId="{D14807FD-294C-4482-91EE-34C09B13669A}" destId="{BCE275B7-D1E9-4183-BABE-507E54E1C931}" srcOrd="0" destOrd="0" presId="urn:microsoft.com/office/officeart/2005/8/layout/chevron1"/>
    <dgm:cxn modelId="{B691ACC9-E326-43E7-A6E2-406AE65711D9}" type="presOf" srcId="{F351D095-D2C1-4F62-A18D-EFB4BA6E2AA9}" destId="{6BF66C9A-92D4-481D-A538-FD1A4E3DC0D5}" srcOrd="0" destOrd="0" presId="urn:microsoft.com/office/officeart/2005/8/layout/chevron1"/>
    <dgm:cxn modelId="{4D4D71A8-B7D9-4525-902F-98991A11A4C9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D5CF43FC-D73B-4945-9193-39314E6B55EA}" type="presOf" srcId="{9C869D94-BD20-4CF6-9CAA-58E706B950F6}" destId="{0AECE453-CE2A-473C-BD27-70D00DA5B95C}" srcOrd="0" destOrd="0" presId="urn:microsoft.com/office/officeart/2005/8/layout/chevron1"/>
    <dgm:cxn modelId="{C96A1DC9-075A-455E-B677-F5012A7BEFF8}" type="presParOf" srcId="{0AECE453-CE2A-473C-BD27-70D00DA5B95C}" destId="{135DB1F4-89C2-4733-9521-42FD5CECF10C}" srcOrd="0" destOrd="0" presId="urn:microsoft.com/office/officeart/2005/8/layout/chevron1"/>
    <dgm:cxn modelId="{212FB264-8EB2-40C9-933A-4FE1A71C6FC7}" type="presParOf" srcId="{0AECE453-CE2A-473C-BD27-70D00DA5B95C}" destId="{E1C76734-9ABE-473C-AD4C-C4BF49F91E97}" srcOrd="1" destOrd="0" presId="urn:microsoft.com/office/officeart/2005/8/layout/chevron1"/>
    <dgm:cxn modelId="{5871350B-1408-4ED1-ABAC-AC5E33185F1E}" type="presParOf" srcId="{0AECE453-CE2A-473C-BD27-70D00DA5B95C}" destId="{6BF66C9A-92D4-481D-A538-FD1A4E3DC0D5}" srcOrd="2" destOrd="0" presId="urn:microsoft.com/office/officeart/2005/8/layout/chevron1"/>
    <dgm:cxn modelId="{8F55015E-BE4F-4AB3-94B7-E538BD2C9C90}" type="presParOf" srcId="{0AECE453-CE2A-473C-BD27-70D00DA5B95C}" destId="{691CB221-7DD5-49BE-AC21-301798066F30}" srcOrd="3" destOrd="0" presId="urn:microsoft.com/office/officeart/2005/8/layout/chevron1"/>
    <dgm:cxn modelId="{0B81EEE9-8A74-4941-B24B-23631ED8B1BB}" type="presParOf" srcId="{0AECE453-CE2A-473C-BD27-70D00DA5B95C}" destId="{6B5B1B16-1D46-4D7F-892D-7D67FB436452}" srcOrd="4" destOrd="0" presId="urn:microsoft.com/office/officeart/2005/8/layout/chevron1"/>
    <dgm:cxn modelId="{E919BF87-DC75-4551-B4EB-D268DAC24896}" type="presParOf" srcId="{0AECE453-CE2A-473C-BD27-70D00DA5B95C}" destId="{E20E6850-4B52-4A6E-A4B6-B5AE207EA15E}" srcOrd="5" destOrd="0" presId="urn:microsoft.com/office/officeart/2005/8/layout/chevron1"/>
    <dgm:cxn modelId="{25E392C4-1960-43F0-88F5-5BB09CF647D6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1" kern="1200" dirty="0" smtClean="0"/>
            <a:t>DevOps goals</a:t>
          </a:r>
          <a:endParaRPr lang="de-DE" sz="1600" b="1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Introduction</a:t>
          </a:r>
          <a:endParaRPr lang="de-DE" sz="2000" b="1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1" kern="1200" dirty="0" smtClean="0"/>
            <a:t>Features</a:t>
          </a:r>
          <a:endParaRPr lang="de-DE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1" kern="1200" dirty="0" smtClean="0"/>
            <a:t>Software Overview</a:t>
          </a:r>
          <a:endParaRPr lang="de-DE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1" kern="1200" dirty="0" smtClean="0"/>
            <a:t>Command lines</a:t>
          </a:r>
          <a:endParaRPr lang="de-DE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1" kern="1200" dirty="0" smtClean="0"/>
            <a:t>Key Terms</a:t>
          </a:r>
          <a:endParaRPr lang="de-DE" sz="1600" b="1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OpenStack</a:t>
          </a:r>
          <a:endParaRPr lang="de-DE" sz="2000" b="1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1" kern="1200" dirty="0" smtClean="0"/>
            <a:t>Deployment</a:t>
          </a:r>
          <a:endParaRPr lang="de-DE" sz="1600" b="1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1" kern="1200" dirty="0" smtClean="0"/>
            <a:t>TelekomCLOUD</a:t>
          </a:r>
          <a:endParaRPr lang="de-DE" sz="1800" b="1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20.09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4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3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2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21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3.jpeg"/><Relationship Id="rId1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6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openxmlformats.org/officeDocument/2006/relationships/image" Target="../media/image3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image" Target="../media/image31.gif"/><Relationship Id="rId5" Type="http://schemas.openxmlformats.org/officeDocument/2006/relationships/diagramQuickStyle" Target="../diagrams/quickStyle18.xml"/><Relationship Id="rId10" Type="http://schemas.openxmlformats.org/officeDocument/2006/relationships/image" Target="../media/image30.png"/><Relationship Id="rId4" Type="http://schemas.openxmlformats.org/officeDocument/2006/relationships/diagramLayout" Target="../diagrams/layout18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9.xml"/><Relationship Id="rId13" Type="http://schemas.microsoft.com/office/2007/relationships/diagramDrawing" Target="../diagrams/drawing20.xml"/><Relationship Id="rId3" Type="http://schemas.openxmlformats.org/officeDocument/2006/relationships/image" Target="../media/image34.jpeg"/><Relationship Id="rId7" Type="http://schemas.openxmlformats.org/officeDocument/2006/relationships/diagramColors" Target="../diagrams/colors19.xml"/><Relationship Id="rId12" Type="http://schemas.openxmlformats.org/officeDocument/2006/relationships/diagramColors" Target="../diagrams/colors20.xml"/><Relationship Id="rId2" Type="http://schemas.openxmlformats.org/officeDocument/2006/relationships/slideLayout" Target="../slideLayouts/slideLayout8.xml"/><Relationship Id="rId1" Type="http://schemas.openxmlformats.org/officeDocument/2006/relationships/video" Target="file:///D:\Summit\Create%20a%20tenant.mp4" TargetMode="External"/><Relationship Id="rId6" Type="http://schemas.openxmlformats.org/officeDocument/2006/relationships/diagramQuickStyle" Target="../diagrams/quickStyle19.xml"/><Relationship Id="rId11" Type="http://schemas.openxmlformats.org/officeDocument/2006/relationships/diagramQuickStyle" Target="../diagrams/quickStyle20.xml"/><Relationship Id="rId5" Type="http://schemas.openxmlformats.org/officeDocument/2006/relationships/diagramLayout" Target="../diagrams/layout19.xml"/><Relationship Id="rId10" Type="http://schemas.openxmlformats.org/officeDocument/2006/relationships/diagramLayout" Target="../diagrams/layout20.xml"/><Relationship Id="rId4" Type="http://schemas.openxmlformats.org/officeDocument/2006/relationships/diagramData" Target="../diagrams/data19.xml"/><Relationship Id="rId9" Type="http://schemas.openxmlformats.org/officeDocument/2006/relationships/diagramData" Target="../diagrams/data20.xml"/><Relationship Id="rId1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1.xml"/><Relationship Id="rId5" Type="http://schemas.openxmlformats.org/officeDocument/2006/relationships/image" Target="../media/image12.jpeg"/><Relationship Id="rId10" Type="http://schemas.microsoft.com/office/2007/relationships/diagramDrawing" Target="../diagrams/drawing2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>
                <a:solidFill>
                  <a:schemeClr val="bg1">
                    <a:lumMod val="50000"/>
                  </a:schemeClr>
                </a:solidFill>
              </a:rPr>
              <a:t>„Cloud Kindergarten“</a:t>
            </a:r>
            <a:endParaRPr lang="de-DE" sz="4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unc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20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20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5" name="Create a tenant.mp4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14"/>
          <a:stretch>
            <a:fillRect/>
          </a:stretch>
        </p:blipFill>
        <p:spPr>
          <a:xfrm>
            <a:off x="1404000" y="1239774"/>
            <a:ext cx="6336000" cy="396000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1847386" y="1932874"/>
            <a:ext cx="5449228" cy="234423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70000" indent="-27000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800" dirty="0" err="1" smtClean="0">
                <a:solidFill>
                  <a:schemeClr val="tx2"/>
                </a:solidFill>
              </a:rPr>
              <a:t>Cloud</a:t>
            </a:r>
            <a:r>
              <a:rPr lang="de-DE" sz="4800" dirty="0" smtClean="0">
                <a:solidFill>
                  <a:schemeClr val="tx2"/>
                </a:solidFill>
              </a:rPr>
              <a:t> Kindergarten – </a:t>
            </a:r>
          </a:p>
          <a:p>
            <a:pPr marL="270000" indent="-27000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800" dirty="0" err="1" smtClean="0">
                <a:solidFill>
                  <a:schemeClr val="tx2"/>
                </a:solidFill>
              </a:rPr>
              <a:t>Creating</a:t>
            </a:r>
            <a:r>
              <a:rPr lang="de-DE" sz="4800" dirty="0" smtClean="0">
                <a:solidFill>
                  <a:schemeClr val="tx2"/>
                </a:solidFill>
              </a:rPr>
              <a:t> a </a:t>
            </a:r>
            <a:r>
              <a:rPr lang="de-DE" sz="4800" dirty="0" err="1" smtClean="0">
                <a:solidFill>
                  <a:schemeClr val="tx2"/>
                </a:solidFill>
              </a:rPr>
              <a:t>tenant</a:t>
            </a:r>
            <a:r>
              <a:rPr lang="de-DE" sz="4800" dirty="0" smtClean="0">
                <a:solidFill>
                  <a:schemeClr val="tx2"/>
                </a:solidFill>
              </a:rPr>
              <a:t> </a:t>
            </a:r>
          </a:p>
          <a:p>
            <a:pPr marL="270000" indent="-270000" 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4800" dirty="0" err="1" smtClean="0">
                <a:solidFill>
                  <a:schemeClr val="tx2"/>
                </a:solidFill>
              </a:rPr>
              <a:t>with</a:t>
            </a:r>
            <a:r>
              <a:rPr lang="de-DE" sz="4800" dirty="0" smtClean="0">
                <a:solidFill>
                  <a:schemeClr val="tx2"/>
                </a:solidFill>
              </a:rPr>
              <a:t> </a:t>
            </a:r>
            <a:r>
              <a:rPr lang="de-DE" sz="4800" dirty="0" err="1" smtClean="0">
                <a:solidFill>
                  <a:schemeClr val="tx2"/>
                </a:solidFill>
              </a:rPr>
              <a:t>OpenStack</a:t>
            </a:r>
            <a:endParaRPr lang="de-DE" sz="4800" dirty="0" smtClean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 fullScrn="1"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  <a:t>Thank you for </a:t>
            </a:r>
            <a:b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4800" dirty="0" smtClean="0">
                <a:solidFill>
                  <a:schemeClr val="bg1">
                    <a:lumMod val="50000"/>
                  </a:schemeClr>
                </a:solidFill>
              </a:rPr>
              <a:t>your Attention !!</a:t>
            </a:r>
            <a:endParaRPr lang="de-DE" sz="4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8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784642"/>
          <a:ext cx="5578666" cy="529342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 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405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 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 3.1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CI / CD in Gi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3.2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Video „Creating a </a:t>
                      </a:r>
                      <a:r>
                        <a:rPr lang="de-DE" sz="2200" kern="1200" dirty="0" err="1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tenant</a:t>
                      </a: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 with OpenStack“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1.1 Who</a:t>
            </a:r>
            <a:r>
              <a:rPr kumimoji="0" lang="de-DE" sz="32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re we? 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– 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 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12550" y="1051204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 – Student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0371" y="1079331"/>
            <a:ext cx="1824468" cy="243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 – </a:t>
            </a:r>
            <a:r>
              <a:rPr lang="de-DE" sz="3200" dirty="0" err="1" smtClean="0"/>
              <a:t>Apprentic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19795" y="1055140"/>
            <a:ext cx="2316951" cy="21875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b="1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b="1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b="1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b="1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b="1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b="1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b="1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b="1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b="1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b="1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b="1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b="1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graphicFrame>
        <p:nvGraphicFramePr>
          <p:cNvPr id="32" name="Diagramm 3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20.09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55</Words>
  <Application>Microsoft Office PowerPoint</Application>
  <PresentationFormat>Bildschirmpräsentation (4:3)</PresentationFormat>
  <Paragraphs>327</Paragraphs>
  <Slides>20</Slides>
  <Notes>17</Notes>
  <HiddenSlides>0</HiddenSlides>
  <MMClips>1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 – Apprentice</vt:lpstr>
      <vt:lpstr>1.1 Who Are We ? – Student</vt:lpstr>
      <vt:lpstr>1.1 Who Are We ? – Apprentice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2 Our Deployment – Datacenter</vt:lpstr>
      <vt:lpstr>3. OpenStack in   Practice</vt:lpstr>
      <vt:lpstr>3.1 OPenStack in Practice – Ci/CD in Git </vt:lpstr>
      <vt:lpstr>Folie 17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Janika Schäfer</cp:lastModifiedBy>
  <cp:revision>726</cp:revision>
  <cp:lastPrinted>2012-09-04T09:22:48Z</cp:lastPrinted>
  <dcterms:created xsi:type="dcterms:W3CDTF">2016-04-21T06:54:03Z</dcterms:created>
  <dcterms:modified xsi:type="dcterms:W3CDTF">2016-09-20T14:1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